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256" r:id="rId5"/>
    <p:sldId id="260" r:id="rId6"/>
    <p:sldId id="257" r:id="rId7"/>
    <p:sldId id="258" r:id="rId8"/>
    <p:sldId id="265" r:id="rId9"/>
    <p:sldId id="264" r:id="rId10"/>
    <p:sldId id="266" r:id="rId11"/>
    <p:sldId id="261" r:id="rId12"/>
    <p:sldId id="259" r:id="rId13"/>
    <p:sldId id="267" r:id="rId14"/>
    <p:sldId id="263" r:id="rId15"/>
    <p:sldId id="262" r:id="rId16"/>
  </p:sldIdLst>
  <p:sldSz cx="12192000" cy="6858000"/>
  <p:notesSz cx="6858000" cy="9144000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4B1A103-5D5F-49E6-BD5B-557D6111FAB4}" v="157" dt="2020-10-08T12:01:30.5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33" autoAdjust="0"/>
    <p:restoredTop sz="94660"/>
  </p:normalViewPr>
  <p:slideViewPr>
    <p:cSldViewPr snapToGrid="0">
      <p:cViewPr varScale="1">
        <p:scale>
          <a:sx n="75" d="100"/>
          <a:sy n="75" d="100"/>
        </p:scale>
        <p:origin x="62" y="5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ckert, Peter" userId="04e50364-1ac6-468d-8340-c574f3737480" providerId="ADAL" clId="{A4B1A103-5D5F-49E6-BD5B-557D6111FAB4}"/>
    <pc:docChg chg="undo custSel addSld modSld sldOrd">
      <pc:chgData name="Eckert, Peter" userId="04e50364-1ac6-468d-8340-c574f3737480" providerId="ADAL" clId="{A4B1A103-5D5F-49E6-BD5B-557D6111FAB4}" dt="2020-10-08T12:03:42.473" v="1662" actId="20577"/>
      <pc:docMkLst>
        <pc:docMk/>
      </pc:docMkLst>
      <pc:sldChg chg="modSp">
        <pc:chgData name="Eckert, Peter" userId="04e50364-1ac6-468d-8340-c574f3737480" providerId="ADAL" clId="{A4B1A103-5D5F-49E6-BD5B-557D6111FAB4}" dt="2020-10-08T11:34:54.660" v="1284"/>
        <pc:sldMkLst>
          <pc:docMk/>
          <pc:sldMk cId="739406327" sldId="256"/>
        </pc:sldMkLst>
        <pc:spChg chg="mod">
          <ac:chgData name="Eckert, Peter" userId="04e50364-1ac6-468d-8340-c574f3737480" providerId="ADAL" clId="{A4B1A103-5D5F-49E6-BD5B-557D6111FAB4}" dt="2020-10-08T11:34:54.151" v="1282" actId="20577"/>
          <ac:spMkLst>
            <pc:docMk/>
            <pc:sldMk cId="739406327" sldId="256"/>
            <ac:spMk id="2" creationId="{B241E21F-E0AC-4D53-AA0B-BA23D587B9DA}"/>
          </ac:spMkLst>
        </pc:spChg>
        <pc:spChg chg="mod">
          <ac:chgData name="Eckert, Peter" userId="04e50364-1ac6-468d-8340-c574f3737480" providerId="ADAL" clId="{A4B1A103-5D5F-49E6-BD5B-557D6111FAB4}" dt="2020-10-06T06:10:56.952" v="525" actId="20577"/>
          <ac:spMkLst>
            <pc:docMk/>
            <pc:sldMk cId="739406327" sldId="256"/>
            <ac:spMk id="3" creationId="{B6E169D6-9CAD-4C77-B041-DB8952D23236}"/>
          </ac:spMkLst>
        </pc:spChg>
        <pc:graphicFrameChg chg="mod">
          <ac:chgData name="Eckert, Peter" userId="04e50364-1ac6-468d-8340-c574f3737480" providerId="ADAL" clId="{A4B1A103-5D5F-49E6-BD5B-557D6111FAB4}" dt="2020-10-08T11:34:54.660" v="1284"/>
          <ac:graphicFrameMkLst>
            <pc:docMk/>
            <pc:sldMk cId="739406327" sldId="256"/>
            <ac:graphicFrameMk id="4" creationId="{F19F45F5-E99A-45D6-AA9F-B7AE5A6768F6}"/>
          </ac:graphicFrameMkLst>
        </pc:graphicFrameChg>
      </pc:sldChg>
      <pc:sldChg chg="modSp">
        <pc:chgData name="Eckert, Peter" userId="04e50364-1ac6-468d-8340-c574f3737480" providerId="ADAL" clId="{A4B1A103-5D5F-49E6-BD5B-557D6111FAB4}" dt="2020-10-06T06:01:10.488" v="190" actId="20577"/>
        <pc:sldMkLst>
          <pc:docMk/>
          <pc:sldMk cId="495786117" sldId="257"/>
        </pc:sldMkLst>
        <pc:spChg chg="mod">
          <ac:chgData name="Eckert, Peter" userId="04e50364-1ac6-468d-8340-c574f3737480" providerId="ADAL" clId="{A4B1A103-5D5F-49E6-BD5B-557D6111FAB4}" dt="2020-10-06T06:01:10.488" v="190" actId="20577"/>
          <ac:spMkLst>
            <pc:docMk/>
            <pc:sldMk cId="495786117" sldId="257"/>
            <ac:spMk id="3" creationId="{CAD88C92-EB76-46BE-ABFF-1799FC792F51}"/>
          </ac:spMkLst>
        </pc:spChg>
      </pc:sldChg>
      <pc:sldChg chg="modSp">
        <pc:chgData name="Eckert, Peter" userId="04e50364-1ac6-468d-8340-c574f3737480" providerId="ADAL" clId="{A4B1A103-5D5F-49E6-BD5B-557D6111FAB4}" dt="2020-10-08T11:57:38.985" v="1464" actId="20577"/>
        <pc:sldMkLst>
          <pc:docMk/>
          <pc:sldMk cId="1475922991" sldId="258"/>
        </pc:sldMkLst>
        <pc:spChg chg="mod">
          <ac:chgData name="Eckert, Peter" userId="04e50364-1ac6-468d-8340-c574f3737480" providerId="ADAL" clId="{A4B1A103-5D5F-49E6-BD5B-557D6111FAB4}" dt="2020-10-08T11:57:38.985" v="1464" actId="20577"/>
          <ac:spMkLst>
            <pc:docMk/>
            <pc:sldMk cId="1475922991" sldId="258"/>
            <ac:spMk id="3" creationId="{5FE66F52-9C9F-4476-9F17-6A81BDED08D1}"/>
          </ac:spMkLst>
        </pc:spChg>
      </pc:sldChg>
      <pc:sldChg chg="modSp">
        <pc:chgData name="Eckert, Peter" userId="04e50364-1ac6-468d-8340-c574f3737480" providerId="ADAL" clId="{A4B1A103-5D5F-49E6-BD5B-557D6111FAB4}" dt="2020-10-07T06:56:18.550" v="1026" actId="255"/>
        <pc:sldMkLst>
          <pc:docMk/>
          <pc:sldMk cId="3864844062" sldId="259"/>
        </pc:sldMkLst>
        <pc:spChg chg="mod">
          <ac:chgData name="Eckert, Peter" userId="04e50364-1ac6-468d-8340-c574f3737480" providerId="ADAL" clId="{A4B1A103-5D5F-49E6-BD5B-557D6111FAB4}" dt="2020-10-07T06:56:18.550" v="1026" actId="255"/>
          <ac:spMkLst>
            <pc:docMk/>
            <pc:sldMk cId="3864844062" sldId="259"/>
            <ac:spMk id="3" creationId="{215E0944-01D4-4B8A-8173-7DD0CE327535}"/>
          </ac:spMkLst>
        </pc:spChg>
      </pc:sldChg>
      <pc:sldChg chg="addSp delSp modSp add">
        <pc:chgData name="Eckert, Peter" userId="04e50364-1ac6-468d-8340-c574f3737480" providerId="ADAL" clId="{A4B1A103-5D5F-49E6-BD5B-557D6111FAB4}" dt="2020-10-08T11:33:10.659" v="1275" actId="1037"/>
        <pc:sldMkLst>
          <pc:docMk/>
          <pc:sldMk cId="2982771660" sldId="261"/>
        </pc:sldMkLst>
        <pc:spChg chg="mod">
          <ac:chgData name="Eckert, Peter" userId="04e50364-1ac6-468d-8340-c574f3737480" providerId="ADAL" clId="{A4B1A103-5D5F-49E6-BD5B-557D6111FAB4}" dt="2020-10-06T06:03:58.256" v="421" actId="20577"/>
          <ac:spMkLst>
            <pc:docMk/>
            <pc:sldMk cId="2982771660" sldId="261"/>
            <ac:spMk id="2" creationId="{8DB53952-52A3-4A03-9443-B1B08F3A0BAF}"/>
          </ac:spMkLst>
        </pc:spChg>
        <pc:spChg chg="mod">
          <ac:chgData name="Eckert, Peter" userId="04e50364-1ac6-468d-8340-c574f3737480" providerId="ADAL" clId="{A4B1A103-5D5F-49E6-BD5B-557D6111FAB4}" dt="2020-10-08T11:30:33.938" v="1055" actId="20577"/>
          <ac:spMkLst>
            <pc:docMk/>
            <pc:sldMk cId="2982771660" sldId="261"/>
            <ac:spMk id="3" creationId="{A23D875F-53C5-4743-BF30-019872171ABD}"/>
          </ac:spMkLst>
        </pc:spChg>
        <pc:spChg chg="add mod">
          <ac:chgData name="Eckert, Peter" userId="04e50364-1ac6-468d-8340-c574f3737480" providerId="ADAL" clId="{A4B1A103-5D5F-49E6-BD5B-557D6111FAB4}" dt="2020-10-06T06:08:45.339" v="436" actId="1076"/>
          <ac:spMkLst>
            <pc:docMk/>
            <pc:sldMk cId="2982771660" sldId="261"/>
            <ac:spMk id="5" creationId="{DD64984C-33E1-4647-969B-B16B9CA2FF0F}"/>
          </ac:spMkLst>
        </pc:spChg>
        <pc:spChg chg="add mod">
          <ac:chgData name="Eckert, Peter" userId="04e50364-1ac6-468d-8340-c574f3737480" providerId="ADAL" clId="{A4B1A103-5D5F-49E6-BD5B-557D6111FAB4}" dt="2020-10-06T06:09:50.525" v="511" actId="14100"/>
          <ac:spMkLst>
            <pc:docMk/>
            <pc:sldMk cId="2982771660" sldId="261"/>
            <ac:spMk id="6" creationId="{AFB7124B-8598-410A-9EEB-6ABBFCA806FE}"/>
          </ac:spMkLst>
        </pc:spChg>
        <pc:spChg chg="add mod">
          <ac:chgData name="Eckert, Peter" userId="04e50364-1ac6-468d-8340-c574f3737480" providerId="ADAL" clId="{A4B1A103-5D5F-49E6-BD5B-557D6111FAB4}" dt="2020-10-06T14:45:23.248" v="1010" actId="1036"/>
          <ac:spMkLst>
            <pc:docMk/>
            <pc:sldMk cId="2982771660" sldId="261"/>
            <ac:spMk id="7" creationId="{3F3E11E7-38E4-4FB6-879E-49473A9C5200}"/>
          </ac:spMkLst>
        </pc:spChg>
        <pc:spChg chg="add mod">
          <ac:chgData name="Eckert, Peter" userId="04e50364-1ac6-468d-8340-c574f3737480" providerId="ADAL" clId="{A4B1A103-5D5F-49E6-BD5B-557D6111FAB4}" dt="2020-10-08T11:31:52.236" v="1217" actId="20577"/>
          <ac:spMkLst>
            <pc:docMk/>
            <pc:sldMk cId="2982771660" sldId="261"/>
            <ac:spMk id="10" creationId="{F108C783-59EA-49CD-BC05-8521D5BE4F73}"/>
          </ac:spMkLst>
        </pc:spChg>
        <pc:spChg chg="add mod">
          <ac:chgData name="Eckert, Peter" userId="04e50364-1ac6-468d-8340-c574f3737480" providerId="ADAL" clId="{A4B1A103-5D5F-49E6-BD5B-557D6111FAB4}" dt="2020-10-08T11:32:26.036" v="1219"/>
          <ac:spMkLst>
            <pc:docMk/>
            <pc:sldMk cId="2982771660" sldId="261"/>
            <ac:spMk id="11" creationId="{1745DD9E-0D69-4E1F-95B1-F45BF9D0D9C7}"/>
          </ac:spMkLst>
        </pc:spChg>
        <pc:graphicFrameChg chg="add mod ord modVis">
          <ac:chgData name="Eckert, Peter" userId="04e50364-1ac6-468d-8340-c574f3737480" providerId="ADAL" clId="{A4B1A103-5D5F-49E6-BD5B-557D6111FAB4}" dt="2020-10-06T06:03:58.767" v="423"/>
          <ac:graphicFrameMkLst>
            <pc:docMk/>
            <pc:sldMk cId="2982771660" sldId="261"/>
            <ac:graphicFrameMk id="4" creationId="{DD5A64B4-304A-4298-B4EA-CDF579998105}"/>
          </ac:graphicFrameMkLst>
        </pc:graphicFrameChg>
        <pc:picChg chg="add mod">
          <ac:chgData name="Eckert, Peter" userId="04e50364-1ac6-468d-8340-c574f3737480" providerId="ADAL" clId="{A4B1A103-5D5F-49E6-BD5B-557D6111FAB4}" dt="2020-10-06T14:45:16.030" v="1005" actId="1036"/>
          <ac:picMkLst>
            <pc:docMk/>
            <pc:sldMk cId="2982771660" sldId="261"/>
            <ac:picMk id="7170" creationId="{A8F74505-19D3-41E6-A700-7BFE4E9F0149}"/>
          </ac:picMkLst>
        </pc:picChg>
        <pc:picChg chg="add del mod">
          <ac:chgData name="Eckert, Peter" userId="04e50364-1ac6-468d-8340-c574f3737480" providerId="ADAL" clId="{A4B1A103-5D5F-49E6-BD5B-557D6111FAB4}" dt="2020-10-08T11:32:58.005" v="1221" actId="478"/>
          <ac:picMkLst>
            <pc:docMk/>
            <pc:sldMk cId="2982771660" sldId="261"/>
            <ac:picMk id="8196" creationId="{104D0580-8388-4CE9-9243-CADF4AFB610C}"/>
          </ac:picMkLst>
        </pc:picChg>
        <pc:picChg chg="add mod">
          <ac:chgData name="Eckert, Peter" userId="04e50364-1ac6-468d-8340-c574f3737480" providerId="ADAL" clId="{A4B1A103-5D5F-49E6-BD5B-557D6111FAB4}" dt="2020-10-08T11:33:10.659" v="1275" actId="1037"/>
          <ac:picMkLst>
            <pc:docMk/>
            <pc:sldMk cId="2982771660" sldId="261"/>
            <ac:picMk id="8198" creationId="{7F6EEDCE-4A87-4335-9BD5-50F204D04CB7}"/>
          </ac:picMkLst>
        </pc:picChg>
      </pc:sldChg>
      <pc:sldChg chg="addSp modSp add ord">
        <pc:chgData name="Eckert, Peter" userId="04e50364-1ac6-468d-8340-c574f3737480" providerId="ADAL" clId="{A4B1A103-5D5F-49E6-BD5B-557D6111FAB4}" dt="2020-10-08T11:59:03.154" v="1552"/>
        <pc:sldMkLst>
          <pc:docMk/>
          <pc:sldMk cId="3948848931" sldId="262"/>
        </pc:sldMkLst>
        <pc:spChg chg="mod ord">
          <ac:chgData name="Eckert, Peter" userId="04e50364-1ac6-468d-8340-c574f3737480" providerId="ADAL" clId="{A4B1A103-5D5F-49E6-BD5B-557D6111FAB4}" dt="2020-10-06T06:12:43.419" v="579"/>
          <ac:spMkLst>
            <pc:docMk/>
            <pc:sldMk cId="3948848931" sldId="262"/>
            <ac:spMk id="2" creationId="{24F78FCA-8AA5-4B9C-A59A-A82C41B8FED7}"/>
          </ac:spMkLst>
        </pc:spChg>
        <pc:spChg chg="mod ord">
          <ac:chgData name="Eckert, Peter" userId="04e50364-1ac6-468d-8340-c574f3737480" providerId="ADAL" clId="{A4B1A103-5D5F-49E6-BD5B-557D6111FAB4}" dt="2020-10-08T11:37:43.093" v="1371" actId="20577"/>
          <ac:spMkLst>
            <pc:docMk/>
            <pc:sldMk cId="3948848931" sldId="262"/>
            <ac:spMk id="3" creationId="{DC66DA61-91B0-4621-ADDB-0EBFE4AD6CED}"/>
          </ac:spMkLst>
        </pc:spChg>
        <pc:spChg chg="add mod ord modVis">
          <ac:chgData name="Eckert, Peter" userId="04e50364-1ac6-468d-8340-c574f3737480" providerId="ADAL" clId="{A4B1A103-5D5F-49E6-BD5B-557D6111FAB4}" dt="2020-10-06T06:12:43.418" v="577"/>
          <ac:spMkLst>
            <pc:docMk/>
            <pc:sldMk cId="3948848931" sldId="262"/>
            <ac:spMk id="4" creationId="{3B74D356-E7B6-46F0-88D5-44AA53B0CDA7}"/>
          </ac:spMkLst>
        </pc:spChg>
        <pc:graphicFrameChg chg="add mod ord modVis">
          <ac:chgData name="Eckert, Peter" userId="04e50364-1ac6-468d-8340-c574f3737480" providerId="ADAL" clId="{A4B1A103-5D5F-49E6-BD5B-557D6111FAB4}" dt="2020-10-06T06:12:43.451" v="596"/>
          <ac:graphicFrameMkLst>
            <pc:docMk/>
            <pc:sldMk cId="3948848931" sldId="262"/>
            <ac:graphicFrameMk id="5" creationId="{E559DA63-147E-402E-8B4E-90AE771F7E78}"/>
          </ac:graphicFrameMkLst>
        </pc:graphicFrameChg>
      </pc:sldChg>
      <pc:sldChg chg="addSp delSp modSp add ord">
        <pc:chgData name="Eckert, Peter" userId="04e50364-1ac6-468d-8340-c574f3737480" providerId="ADAL" clId="{A4B1A103-5D5F-49E6-BD5B-557D6111FAB4}" dt="2020-10-08T12:01:30.520" v="1634"/>
        <pc:sldMkLst>
          <pc:docMk/>
          <pc:sldMk cId="2230788490" sldId="263"/>
        </pc:sldMkLst>
        <pc:spChg chg="mod ord">
          <ac:chgData name="Eckert, Peter" userId="04e50364-1ac6-468d-8340-c574f3737480" providerId="ADAL" clId="{A4B1A103-5D5F-49E6-BD5B-557D6111FAB4}" dt="2020-10-06T14:22:48.845" v="939"/>
          <ac:spMkLst>
            <pc:docMk/>
            <pc:sldMk cId="2230788490" sldId="263"/>
            <ac:spMk id="2" creationId="{ADDCE38E-8750-4F23-AB1F-A6E3B36FA1AB}"/>
          </ac:spMkLst>
        </pc:spChg>
        <pc:spChg chg="add del mod ord">
          <ac:chgData name="Eckert, Peter" userId="04e50364-1ac6-468d-8340-c574f3737480" providerId="ADAL" clId="{A4B1A103-5D5F-49E6-BD5B-557D6111FAB4}" dt="2020-10-06T14:23:25.146" v="948" actId="478"/>
          <ac:spMkLst>
            <pc:docMk/>
            <pc:sldMk cId="2230788490" sldId="263"/>
            <ac:spMk id="3" creationId="{6905FDBB-7698-4F54-B42C-EC50FA83CD03}"/>
          </ac:spMkLst>
        </pc:spChg>
        <pc:spChg chg="add mod ord modVis">
          <ac:chgData name="Eckert, Peter" userId="04e50364-1ac6-468d-8340-c574f3737480" providerId="ADAL" clId="{A4B1A103-5D5F-49E6-BD5B-557D6111FAB4}" dt="2020-10-06T14:22:48.844" v="937"/>
          <ac:spMkLst>
            <pc:docMk/>
            <pc:sldMk cId="2230788490" sldId="263"/>
            <ac:spMk id="5" creationId="{28B12683-8BB9-4B08-BA8A-C6D63A4D21A7}"/>
          </ac:spMkLst>
        </pc:spChg>
        <pc:graphicFrameChg chg="add mod ord modVis">
          <ac:chgData name="Eckert, Peter" userId="04e50364-1ac6-468d-8340-c574f3737480" providerId="ADAL" clId="{A4B1A103-5D5F-49E6-BD5B-557D6111FAB4}" dt="2020-10-06T14:22:48.848" v="943"/>
          <ac:graphicFrameMkLst>
            <pc:docMk/>
            <pc:sldMk cId="2230788490" sldId="263"/>
            <ac:graphicFrameMk id="4" creationId="{51B30DEE-F9D2-45C2-BF05-AC1AE2F8FAF0}"/>
          </ac:graphicFrameMkLst>
        </pc:graphicFrameChg>
        <pc:picChg chg="add del mod">
          <ac:chgData name="Eckert, Peter" userId="04e50364-1ac6-468d-8340-c574f3737480" providerId="ADAL" clId="{A4B1A103-5D5F-49E6-BD5B-557D6111FAB4}" dt="2020-10-06T14:23:21.734" v="947"/>
          <ac:picMkLst>
            <pc:docMk/>
            <pc:sldMk cId="2230788490" sldId="263"/>
            <ac:picMk id="6" creationId="{D91365F7-3BB3-499F-BD93-7124D52B6B4B}"/>
          </ac:picMkLst>
        </pc:picChg>
        <pc:picChg chg="add mod">
          <ac:chgData name="Eckert, Peter" userId="04e50364-1ac6-468d-8340-c574f3737480" providerId="ADAL" clId="{A4B1A103-5D5F-49E6-BD5B-557D6111FAB4}" dt="2020-10-06T14:24:01.696" v="955" actId="1076"/>
          <ac:picMkLst>
            <pc:docMk/>
            <pc:sldMk cId="2230788490" sldId="263"/>
            <ac:picMk id="8194" creationId="{C5F99592-D86F-4401-A2F7-24692DB3ECDB}"/>
          </ac:picMkLst>
        </pc:picChg>
        <pc:picChg chg="add mod">
          <ac:chgData name="Eckert, Peter" userId="04e50364-1ac6-468d-8340-c574f3737480" providerId="ADAL" clId="{A4B1A103-5D5F-49E6-BD5B-557D6111FAB4}" dt="2020-10-06T14:24:03.851" v="956" actId="1076"/>
          <ac:picMkLst>
            <pc:docMk/>
            <pc:sldMk cId="2230788490" sldId="263"/>
            <ac:picMk id="8196" creationId="{59C4861C-2C9C-4317-9DB9-8060818B5F9A}"/>
          </ac:picMkLst>
        </pc:picChg>
      </pc:sldChg>
      <pc:sldChg chg="modSp add">
        <pc:chgData name="Eckert, Peter" userId="04e50364-1ac6-468d-8340-c574f3737480" providerId="ADAL" clId="{A4B1A103-5D5F-49E6-BD5B-557D6111FAB4}" dt="2020-10-08T12:03:42.473" v="1662" actId="20577"/>
        <pc:sldMkLst>
          <pc:docMk/>
          <pc:sldMk cId="4189920509" sldId="264"/>
        </pc:sldMkLst>
        <pc:spChg chg="mod">
          <ac:chgData name="Eckert, Peter" userId="04e50364-1ac6-468d-8340-c574f3737480" providerId="ADAL" clId="{A4B1A103-5D5F-49E6-BD5B-557D6111FAB4}" dt="2020-10-08T12:03:42.473" v="1662" actId="20577"/>
          <ac:spMkLst>
            <pc:docMk/>
            <pc:sldMk cId="4189920509" sldId="264"/>
            <ac:spMk id="3" creationId="{5FE66F52-9C9F-4476-9F17-6A81BDED08D1}"/>
          </ac:spMkLst>
        </pc:spChg>
      </pc:sldChg>
      <pc:sldChg chg="addSp modSp add">
        <pc:chgData name="Eckert, Peter" userId="04e50364-1ac6-468d-8340-c574f3737480" providerId="ADAL" clId="{A4B1A103-5D5F-49E6-BD5B-557D6111FAB4}" dt="2020-10-08T12:00:15.883" v="1603" actId="20577"/>
        <pc:sldMkLst>
          <pc:docMk/>
          <pc:sldMk cId="2985073629" sldId="265"/>
        </pc:sldMkLst>
        <pc:spChg chg="mod">
          <ac:chgData name="Eckert, Peter" userId="04e50364-1ac6-468d-8340-c574f3737480" providerId="ADAL" clId="{A4B1A103-5D5F-49E6-BD5B-557D6111FAB4}" dt="2020-10-08T12:00:15.883" v="1603" actId="20577"/>
          <ac:spMkLst>
            <pc:docMk/>
            <pc:sldMk cId="2985073629" sldId="265"/>
            <ac:spMk id="3" creationId="{5FE66F52-9C9F-4476-9F17-6A81BDED08D1}"/>
          </ac:spMkLst>
        </pc:spChg>
        <pc:picChg chg="add mod">
          <ac:chgData name="Eckert, Peter" userId="04e50364-1ac6-468d-8340-c574f3737480" providerId="ADAL" clId="{A4B1A103-5D5F-49E6-BD5B-557D6111FAB4}" dt="2020-10-08T11:59:53.940" v="1576" actId="1076"/>
          <ac:picMkLst>
            <pc:docMk/>
            <pc:sldMk cId="2985073629" sldId="265"/>
            <ac:picMk id="5" creationId="{B4B848BD-131C-4660-88F7-8BA61289216D}"/>
          </ac:picMkLst>
        </pc:picChg>
      </pc:sldChg>
      <pc:sldChg chg="modSp add">
        <pc:chgData name="Eckert, Peter" userId="04e50364-1ac6-468d-8340-c574f3737480" providerId="ADAL" clId="{A4B1A103-5D5F-49E6-BD5B-557D6111FAB4}" dt="2020-10-08T11:58:39.049" v="1551" actId="20577"/>
        <pc:sldMkLst>
          <pc:docMk/>
          <pc:sldMk cId="160751684" sldId="266"/>
        </pc:sldMkLst>
        <pc:spChg chg="mod">
          <ac:chgData name="Eckert, Peter" userId="04e50364-1ac6-468d-8340-c574f3737480" providerId="ADAL" clId="{A4B1A103-5D5F-49E6-BD5B-557D6111FAB4}" dt="2020-10-08T11:58:39.049" v="1551" actId="20577"/>
          <ac:spMkLst>
            <pc:docMk/>
            <pc:sldMk cId="160751684" sldId="266"/>
            <ac:spMk id="3" creationId="{5FE66F52-9C9F-4476-9F17-6A81BDED08D1}"/>
          </ac:spMkLst>
        </pc:spChg>
      </pc:sldChg>
      <pc:sldChg chg="addSp modSp add">
        <pc:chgData name="Eckert, Peter" userId="04e50364-1ac6-468d-8340-c574f3737480" providerId="ADAL" clId="{A4B1A103-5D5F-49E6-BD5B-557D6111FAB4}" dt="2020-10-08T11:59:10.831" v="1574"/>
        <pc:sldMkLst>
          <pc:docMk/>
          <pc:sldMk cId="1659553769" sldId="267"/>
        </pc:sldMkLst>
        <pc:spChg chg="mod">
          <ac:chgData name="Eckert, Peter" userId="04e50364-1ac6-468d-8340-c574f3737480" providerId="ADAL" clId="{A4B1A103-5D5F-49E6-BD5B-557D6111FAB4}" dt="2020-10-08T11:59:10.262" v="1559" actId="20577"/>
          <ac:spMkLst>
            <pc:docMk/>
            <pc:sldMk cId="1659553769" sldId="267"/>
            <ac:spMk id="2" creationId="{C08E9EC6-2970-4994-83AA-C5ABC9AE8C33}"/>
          </ac:spMkLst>
        </pc:spChg>
        <pc:graphicFrameChg chg="add mod ord modVis">
          <ac:chgData name="Eckert, Peter" userId="04e50364-1ac6-468d-8340-c574f3737480" providerId="ADAL" clId="{A4B1A103-5D5F-49E6-BD5B-557D6111FAB4}" dt="2020-10-08T11:59:10.831" v="1574"/>
          <ac:graphicFrameMkLst>
            <pc:docMk/>
            <pc:sldMk cId="1659553769" sldId="267"/>
            <ac:graphicFrameMk id="4" creationId="{6FDD5CBD-58A0-40B3-B117-2E29A503FE3F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2E12AF-333A-4AA5-AE86-7C758EC9235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EEC100A-702B-467C-BBFD-91ABD93D07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79ADD82-A909-4B26-876B-689C79DBA3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E0DD3C-4B9B-4D9C-8977-F11B271EF011}" type="datetimeFigureOut">
              <a:rPr lang="de-DE" smtClean="0"/>
              <a:t>08.10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8CB86DE-D56D-48A1-9FEE-755D984BD4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75A5C49-EFFD-4015-B49A-4EBFD084C5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EEA33A-6922-41BA-9748-2E2E5C95A95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46095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C58A7C-BC10-47B7-B33A-D5C6E47BBC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5A474F6F-3951-4CC4-8AD7-FD9C692C282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452C871-11F4-4822-BE03-05D217B0B1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E0DD3C-4B9B-4D9C-8977-F11B271EF011}" type="datetimeFigureOut">
              <a:rPr lang="de-DE" smtClean="0"/>
              <a:t>08.10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F0DBC7A-3708-451D-865E-0DA6F51A51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04E2BAE-313E-4F6B-AC82-917B18C6F7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EEA33A-6922-41BA-9748-2E2E5C95A95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41311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8B856E5E-53E9-442C-92BF-68022275BD1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6EA8AFFA-E3D0-41C0-81CB-50C70D58B73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E63C010-B817-49FB-B454-FBA188CC14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E0DD3C-4B9B-4D9C-8977-F11B271EF011}" type="datetimeFigureOut">
              <a:rPr lang="de-DE" smtClean="0"/>
              <a:t>08.10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B5FABA3-6C65-45AB-9FE4-8506895324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B8FB157-E48B-4D4C-B936-ACEC4F0A7B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EEA33A-6922-41BA-9748-2E2E5C95A95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309514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9F8C5F-8EBF-4939-898B-11C7382BC3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3D2D86D-7535-4D7F-A816-8AE871D407E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C62D466-4117-4A05-AAC0-B33258A9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E0DD3C-4B9B-4D9C-8977-F11B271EF011}" type="datetimeFigureOut">
              <a:rPr lang="de-DE" smtClean="0"/>
              <a:t>08.10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AA2AF1E-D358-4FDE-8D33-05751A98D1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32877CF-FEA3-4EA8-A7F8-900FD71920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EEA33A-6922-41BA-9748-2E2E5C95A95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002759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04DE66B-4771-4C87-A1F2-7F5E4DCB8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2677C72-6D09-462A-BED6-F897721F16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C532A9D-86A0-4A7C-BF25-38F0B42129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E0DD3C-4B9B-4D9C-8977-F11B271EF011}" type="datetimeFigureOut">
              <a:rPr lang="de-DE" smtClean="0"/>
              <a:t>08.10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8254E78-C078-48EF-860B-49FE2A599E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CD9CCED-CBC1-438F-8B90-0CB94FF864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EEA33A-6922-41BA-9748-2E2E5C95A95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62523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DBEC556-1E60-45F5-82A6-457613B7D9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EA77E4A-D2C8-4B08-9E9F-DDA1D3FF1E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10170E6-3208-42C4-BB86-43803CBAF85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A257199-2236-4800-85C7-771EB60797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E0DD3C-4B9B-4D9C-8977-F11B271EF011}" type="datetimeFigureOut">
              <a:rPr lang="de-DE" smtClean="0"/>
              <a:t>08.10.20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0A5CC45-32F5-4127-AF51-4771CCB0C3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3155BF0-2659-471E-A37D-5185DDD7D7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EEA33A-6922-41BA-9748-2E2E5C95A95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192577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96D5D1-183C-4443-9BD2-D1ACF91EEC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B75E686-0133-4EA6-ACB8-5910BDF7C8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50A8BDD-5396-448F-83F7-73E1EC622B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075C787-DCC9-4FB3-9B80-2CE1F9C3F1C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0F74CC7-1F1C-4744-9E9C-C433658AEC8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EAA8EBBF-A080-499B-A5A4-3685DD6FAA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E0DD3C-4B9B-4D9C-8977-F11B271EF011}" type="datetimeFigureOut">
              <a:rPr lang="de-DE" smtClean="0"/>
              <a:t>08.10.2020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0CCDF37A-8B80-454A-9997-AE8C0497BE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7406237-1600-441E-AB9A-9D7282BB56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EEA33A-6922-41BA-9748-2E2E5C95A95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519108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DA16A1-3AA9-4095-99EA-FB84256A80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A4C278C-DFBE-4CC1-8C2B-085F1B444D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E0DD3C-4B9B-4D9C-8977-F11B271EF011}" type="datetimeFigureOut">
              <a:rPr lang="de-DE" smtClean="0"/>
              <a:t>08.10.2020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D2FE174-22AF-4C4A-809C-41119F9749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C9870F5-0FE5-4CEF-9D3C-8FB55E6EF2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EEA33A-6922-41BA-9748-2E2E5C95A95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75168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E771C6D-3F8D-4724-AF31-1D776A0001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E0DD3C-4B9B-4D9C-8977-F11B271EF011}" type="datetimeFigureOut">
              <a:rPr lang="de-DE" smtClean="0"/>
              <a:t>08.10.2020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78EA3AE-5648-48EF-9336-106D8996CA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329DE18-0648-4FBD-96CD-D7170BE7B1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EEA33A-6922-41BA-9748-2E2E5C95A95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920604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20A2AD9-D80B-4EE3-A8DF-CB62A41F9D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CFC64C3-D024-4E25-BC72-1899219084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0545BC9-A15B-403F-B370-EDC0F925D19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6E925FD-1BF2-4469-BBAF-A2C75F8EF9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E0DD3C-4B9B-4D9C-8977-F11B271EF011}" type="datetimeFigureOut">
              <a:rPr lang="de-DE" smtClean="0"/>
              <a:t>08.10.20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1DF8FA4-68A4-439F-9111-2E0CBAB70E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442C085-F0B4-4AD7-BD9D-7A236AF2B6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EEA33A-6922-41BA-9748-2E2E5C95A95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45440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EC4AFA-A26A-47D5-8494-2B15F60EF0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5CF4BBF0-F668-4251-B46B-AE12D9C76C3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D27625F-6797-480A-BC36-13ADC238DBA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FB1201F-1B77-4859-98E8-2FC2AA53D7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E0DD3C-4B9B-4D9C-8977-F11B271EF011}" type="datetimeFigureOut">
              <a:rPr lang="de-DE" smtClean="0"/>
              <a:t>08.10.20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EBD0C08-535D-4757-9793-8832EA47AE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7EDCB9A-F442-42F6-82A7-88EE27B80B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EEA33A-6922-41BA-9748-2E2E5C95A95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17120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A6CC468-4BB1-467B-9CA2-191FCEE342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677744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16" imgW="499" imgH="499" progId="TCLayout.ActiveDocument.1">
                  <p:embed/>
                </p:oleObj>
              </mc:Choice>
              <mc:Fallback>
                <p:oleObj name="think-cell Folie" r:id="rId16" imgW="499" imgH="49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A6CC468-4BB1-467B-9CA2-191FCEE342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04F641E-0158-4F8E-9230-BE633607C48C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4DD8FBB-E97E-4455-834B-808E323867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B61E011-AB36-469E-8654-82C2DB332D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4E2227-9086-4535-86F2-DFDDFCE288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E0DD3C-4B9B-4D9C-8977-F11B271EF011}" type="datetimeFigureOut">
              <a:rPr lang="de-DE" smtClean="0"/>
              <a:t>08.10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5368F20-AD9F-4465-9DE5-674D567823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255AB98-3D80-40EF-A836-C3A33F9828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EEA33A-6922-41BA-9748-2E2E5C95A95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2051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.xml"/><Relationship Id="rId7" Type="http://schemas.openxmlformats.org/officeDocument/2006/relationships/image" Target="../media/image5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hyperlink" Target="https://x.thunkable.com/copy/57989626327f283cca1815d081083498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19F45F5-E99A-45D6-AA9F-B7AE5A6768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2566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4" imgW="499" imgH="499" progId="TCLayout.ActiveDocument.1">
                  <p:embed/>
                </p:oleObj>
              </mc:Choice>
              <mc:Fallback>
                <p:oleObj name="think-cell Folie" r:id="rId4" imgW="499" imgH="49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19F45F5-E99A-45D6-AA9F-B7AE5A6768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241E21F-E0AC-4D53-AA0B-BA23D587B9D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de-DE" sz="9600" b="1" dirty="0">
                <a:solidFill>
                  <a:srgbClr val="FF0000"/>
                </a:solidFill>
                <a:latin typeface="72 Black" panose="020B0A04030603020204" pitchFamily="34" charset="0"/>
                <a:cs typeface="72 Black" panose="020B0A04030603020204" pitchFamily="34" charset="0"/>
              </a:rPr>
              <a:t>Alert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6E169D6-9CAD-4C77-B041-DB8952D2323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2785315"/>
          </a:xfrm>
        </p:spPr>
        <p:txBody>
          <a:bodyPr>
            <a:normAutofit/>
          </a:bodyPr>
          <a:lstStyle/>
          <a:p>
            <a:r>
              <a:rPr lang="de-DE" dirty="0"/>
              <a:t>The </a:t>
            </a:r>
            <a:r>
              <a:rPr lang="de-DE" dirty="0" err="1"/>
              <a:t>warning</a:t>
            </a:r>
            <a:r>
              <a:rPr lang="de-DE" dirty="0"/>
              <a:t> </a:t>
            </a:r>
            <a:r>
              <a:rPr lang="de-DE" dirty="0" err="1"/>
              <a:t>app</a:t>
            </a:r>
            <a:r>
              <a:rPr lang="de-DE" dirty="0"/>
              <a:t> </a:t>
            </a:r>
          </a:p>
          <a:p>
            <a:endParaRPr lang="de-DE" dirty="0"/>
          </a:p>
          <a:p>
            <a:r>
              <a:rPr lang="de-DE" dirty="0" err="1"/>
              <a:t>by</a:t>
            </a:r>
            <a:r>
              <a:rPr lang="de-DE" dirty="0"/>
              <a:t> </a:t>
            </a:r>
          </a:p>
          <a:p>
            <a:r>
              <a:rPr lang="de-DE" dirty="0"/>
              <a:t>Julia</a:t>
            </a:r>
          </a:p>
          <a:p>
            <a:r>
              <a:rPr lang="de-DE" dirty="0"/>
              <a:t>Markus</a:t>
            </a:r>
          </a:p>
          <a:p>
            <a:r>
              <a:rPr lang="de-DE" dirty="0"/>
              <a:t>Peter</a:t>
            </a:r>
          </a:p>
        </p:txBody>
      </p:sp>
    </p:spTree>
    <p:extLst>
      <p:ext uri="{BB962C8B-B14F-4D97-AF65-F5344CB8AC3E}">
        <p14:creationId xmlns:p14="http://schemas.microsoft.com/office/powerpoint/2010/main" val="7394063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FDD5CBD-58A0-40B3-B117-2E29A503FE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2996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Folie" r:id="rId4" imgW="499" imgH="499" progId="TCLayout.ActiveDocument.1">
                  <p:embed/>
                </p:oleObj>
              </mc:Choice>
              <mc:Fallback>
                <p:oleObj name="think-cell Folie" r:id="rId4" imgW="499" imgH="49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FDD5CBD-58A0-40B3-B117-2E29A503FE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08E9EC6-2970-4994-83AA-C5ABC9AE8C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ckup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643D04B-FFB1-46B3-BB02-DA5022C78D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95537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1B30DEE-F9D2-45C2-BF05-AC1AE2F8FA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7441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Folie" r:id="rId5" imgW="499" imgH="499" progId="TCLayout.ActiveDocument.1">
                  <p:embed/>
                </p:oleObj>
              </mc:Choice>
              <mc:Fallback>
                <p:oleObj name="think-cell Folie" r:id="rId5" imgW="499" imgH="49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1B30DEE-F9D2-45C2-BF05-AC1AE2F8FA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8B12683-8BB9-4B08-BA8A-C6D63A4D21A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DDCE38E-8750-4F23-AB1F-A6E3B36FA1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Useful</a:t>
            </a:r>
            <a:r>
              <a:rPr lang="de-DE" dirty="0"/>
              <a:t> </a:t>
            </a:r>
            <a:r>
              <a:rPr lang="de-DE" dirty="0" err="1"/>
              <a:t>graphs</a:t>
            </a:r>
            <a:endParaRPr lang="de-DE" dirty="0"/>
          </a:p>
        </p:txBody>
      </p:sp>
      <p:pic>
        <p:nvPicPr>
          <p:cNvPr id="8194" name="Picture 2">
            <a:extLst>
              <a:ext uri="{FF2B5EF4-FFF2-40B4-BE49-F238E27FC236}">
                <a16:creationId xmlns:a16="http://schemas.microsoft.com/office/drawing/2014/main" id="{C5F99592-D86F-4401-A2F7-24692DB3EC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4179888"/>
            <a:ext cx="6370320" cy="2544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6" name="Picture 4">
            <a:extLst>
              <a:ext uri="{FF2B5EF4-FFF2-40B4-BE49-F238E27FC236}">
                <a16:creationId xmlns:a16="http://schemas.microsoft.com/office/drawing/2014/main" id="{59C4861C-2C9C-4317-9DB9-8060818B5F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473199"/>
            <a:ext cx="3571875" cy="2409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07884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559DA63-147E-402E-8B4E-90AE771F7E7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7897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Folie" r:id="rId5" imgW="499" imgH="499" progId="TCLayout.ActiveDocument.1">
                  <p:embed/>
                </p:oleObj>
              </mc:Choice>
              <mc:Fallback>
                <p:oleObj name="think-cell Folie" r:id="rId5" imgW="499" imgH="499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559DA63-147E-402E-8B4E-90AE771F7E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B74D356-E7B6-46F0-88D5-44AA53B0CDA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4F78FCA-8AA5-4B9C-A59A-A82C41B8FE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techniques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C66DA61-91B0-4621-ADDB-0EBFE4AD6C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DE" dirty="0"/>
              <a:t>Data </a:t>
            </a:r>
            <a:r>
              <a:rPr lang="de-DE" dirty="0" err="1"/>
              <a:t>wrangling</a:t>
            </a:r>
            <a:endParaRPr lang="de-DE" dirty="0"/>
          </a:p>
          <a:p>
            <a:pPr lvl="1"/>
            <a:r>
              <a:rPr lang="de-DE" dirty="0" err="1"/>
              <a:t>regex</a:t>
            </a:r>
            <a:endParaRPr lang="de-DE" dirty="0"/>
          </a:p>
          <a:p>
            <a:pPr lvl="1"/>
            <a:r>
              <a:rPr lang="de-DE" dirty="0" err="1"/>
              <a:t>replace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dict</a:t>
            </a:r>
            <a:endParaRPr lang="de-DE" dirty="0"/>
          </a:p>
          <a:p>
            <a:pPr lvl="1"/>
            <a:r>
              <a:rPr lang="de-DE" dirty="0"/>
              <a:t>POS / </a:t>
            </a:r>
            <a:r>
              <a:rPr lang="de-DE" dirty="0" err="1"/>
              <a:t>NER</a:t>
            </a:r>
            <a:endParaRPr lang="de-DE" dirty="0"/>
          </a:p>
          <a:p>
            <a:r>
              <a:rPr lang="de-DE" dirty="0"/>
              <a:t>ML</a:t>
            </a:r>
          </a:p>
          <a:p>
            <a:pPr lvl="1"/>
            <a:r>
              <a:rPr lang="de-DE" dirty="0" err="1"/>
              <a:t>pipeline</a:t>
            </a:r>
            <a:endParaRPr lang="de-DE" dirty="0"/>
          </a:p>
          <a:p>
            <a:pPr lvl="1"/>
            <a:r>
              <a:rPr lang="de-DE" dirty="0" err="1"/>
              <a:t>Tfidf</a:t>
            </a:r>
            <a:endParaRPr lang="de-DE" dirty="0"/>
          </a:p>
          <a:p>
            <a:pPr lvl="1"/>
            <a:r>
              <a:rPr lang="de-DE" dirty="0" err="1"/>
              <a:t>CountVectorizer</a:t>
            </a:r>
            <a:endParaRPr lang="de-DE" dirty="0"/>
          </a:p>
          <a:p>
            <a:pPr lvl="1"/>
            <a:r>
              <a:rPr lang="de-DE" dirty="0" err="1"/>
              <a:t>XGBClassifier</a:t>
            </a:r>
            <a:endParaRPr lang="de-DE" dirty="0"/>
          </a:p>
          <a:p>
            <a:pPr lvl="1"/>
            <a:r>
              <a:rPr lang="de-DE" dirty="0"/>
              <a:t>stacking</a:t>
            </a:r>
          </a:p>
          <a:p>
            <a:r>
              <a:rPr lang="de-DE" dirty="0"/>
              <a:t>App</a:t>
            </a:r>
          </a:p>
          <a:p>
            <a:pPr lvl="1"/>
            <a:r>
              <a:rPr lang="de-DE" dirty="0" err="1"/>
              <a:t>thunkable</a:t>
            </a:r>
            <a:endParaRPr lang="de-DE" dirty="0"/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488489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6B7C0CD-0D9B-47FD-ACED-947D51E69A7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06181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4" imgW="499" imgH="499" progId="TCLayout.ActiveDocument.1">
                  <p:embed/>
                </p:oleObj>
              </mc:Choice>
              <mc:Fallback>
                <p:oleObj name="think-cell Folie" r:id="rId4" imgW="499" imgH="49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6B7C0CD-0D9B-47FD-ACED-947D51E69A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38B3E7E-DC00-4249-93F5-674D857857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ask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3372D-28DD-4977-B8BA-D269FD8607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build a model which is capable of correctly classifying tweets as either disaster tweets or false aler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709907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B822ADF-DBAE-4E4B-853C-F900CC3363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0100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Folie" r:id="rId4" imgW="499" imgH="499" progId="TCLayout.ActiveDocument.1">
                  <p:embed/>
                </p:oleObj>
              </mc:Choice>
              <mc:Fallback>
                <p:oleObj name="think-cell Folie" r:id="rId4" imgW="499" imgH="49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B822ADF-DBAE-4E4B-853C-F900CC3363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E55E52C-1732-42D3-9AD1-EBF7525669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trategy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AD88C92-EB76-46BE-ABFF-1799FC792F5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reading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r>
              <a:rPr lang="de-DE" dirty="0"/>
              <a:t>clean </a:t>
            </a:r>
            <a:r>
              <a:rPr lang="de-DE" dirty="0" err="1"/>
              <a:t>keywords</a:t>
            </a:r>
            <a:endParaRPr lang="de-DE" dirty="0"/>
          </a:p>
          <a:p>
            <a:r>
              <a:rPr lang="de-DE" dirty="0" err="1"/>
              <a:t>transform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via NLP </a:t>
            </a:r>
            <a:r>
              <a:rPr lang="de-DE" dirty="0" err="1"/>
              <a:t>techniques</a:t>
            </a:r>
            <a:endParaRPr lang="de-DE" dirty="0"/>
          </a:p>
          <a:p>
            <a:r>
              <a:rPr lang="de-DE" dirty="0"/>
              <a:t>perform different ML </a:t>
            </a:r>
            <a:r>
              <a:rPr lang="de-DE" dirty="0" err="1"/>
              <a:t>approach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find </a:t>
            </a:r>
            <a:r>
              <a:rPr lang="de-DE" dirty="0" err="1"/>
              <a:t>best</a:t>
            </a:r>
            <a:r>
              <a:rPr lang="de-DE" dirty="0"/>
              <a:t> </a:t>
            </a:r>
            <a:r>
              <a:rPr lang="de-DE" dirty="0" err="1"/>
              <a:t>differentiator</a:t>
            </a:r>
            <a:endParaRPr lang="de-DE" dirty="0"/>
          </a:p>
          <a:p>
            <a:r>
              <a:rPr lang="de-DE" dirty="0" err="1"/>
              <a:t>build</a:t>
            </a:r>
            <a:r>
              <a:rPr lang="de-DE" dirty="0"/>
              <a:t> </a:t>
            </a:r>
            <a:r>
              <a:rPr lang="de-DE" dirty="0" err="1"/>
              <a:t>app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a ML </a:t>
            </a:r>
            <a:r>
              <a:rPr lang="de-DE" dirty="0" err="1"/>
              <a:t>pipelin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redict</a:t>
            </a:r>
            <a:r>
              <a:rPr lang="de-DE" dirty="0"/>
              <a:t> alert </a:t>
            </a:r>
            <a:r>
              <a:rPr lang="de-DE" dirty="0" err="1"/>
              <a:t>situation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57861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76B125-4BF8-4773-9194-CE3AFEF9A6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12082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Folie" r:id="rId4" imgW="499" imgH="499" progId="TCLayout.ActiveDocument.1">
                  <p:embed/>
                </p:oleObj>
              </mc:Choice>
              <mc:Fallback>
                <p:oleObj name="think-cell Folie" r:id="rId4" imgW="499" imgH="49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76B125-4BF8-4773-9194-CE3AFEF9A6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A06B7BE-E4F1-4C52-AF7B-E6B7213E09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orkbench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E66F52-9C9F-4476-9F17-6A81BDED08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Day 1: </a:t>
            </a:r>
          </a:p>
          <a:p>
            <a:pPr lvl="1"/>
            <a:r>
              <a:rPr lang="de-DE" dirty="0"/>
              <a:t>Setup </a:t>
            </a:r>
            <a:r>
              <a:rPr lang="de-DE" dirty="0" err="1"/>
              <a:t>strategy</a:t>
            </a:r>
            <a:r>
              <a:rPr lang="de-DE" dirty="0"/>
              <a:t> (</a:t>
            </a:r>
            <a:r>
              <a:rPr lang="de-DE" dirty="0" err="1"/>
              <a:t>group</a:t>
            </a:r>
            <a:r>
              <a:rPr lang="de-DE" dirty="0"/>
              <a:t>)</a:t>
            </a:r>
          </a:p>
          <a:p>
            <a:pPr lvl="1"/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wrangling</a:t>
            </a:r>
            <a:r>
              <a:rPr lang="de-DE" dirty="0"/>
              <a:t> ( </a:t>
            </a:r>
            <a:r>
              <a:rPr lang="de-DE" dirty="0" err="1"/>
              <a:t>group</a:t>
            </a:r>
            <a:r>
              <a:rPr lang="de-DE" dirty="0"/>
              <a:t>)</a:t>
            </a:r>
          </a:p>
          <a:p>
            <a:pPr lvl="1"/>
            <a:r>
              <a:rPr lang="de-DE" dirty="0"/>
              <a:t>NLP </a:t>
            </a:r>
            <a:r>
              <a:rPr lang="de-DE" dirty="0" err="1"/>
              <a:t>basics</a:t>
            </a:r>
            <a:r>
              <a:rPr lang="de-DE" dirty="0"/>
              <a:t> (</a:t>
            </a:r>
            <a:r>
              <a:rPr lang="de-DE" dirty="0" err="1"/>
              <a:t>group</a:t>
            </a:r>
            <a:r>
              <a:rPr lang="de-DE" dirty="0"/>
              <a:t>)</a:t>
            </a:r>
          </a:p>
          <a:p>
            <a:pPr lvl="1"/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(</a:t>
            </a:r>
            <a:r>
              <a:rPr lang="de-DE" dirty="0" err="1"/>
              <a:t>group</a:t>
            </a:r>
            <a:r>
              <a:rPr lang="de-DE" dirty="0"/>
              <a:t>)</a:t>
            </a:r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r>
              <a:rPr lang="de-DE" dirty="0"/>
              <a:t>Beispiel: irgendwas von irgendwem präsentiert</a:t>
            </a:r>
          </a:p>
        </p:txBody>
      </p:sp>
    </p:spTree>
    <p:extLst>
      <p:ext uri="{BB962C8B-B14F-4D97-AF65-F5344CB8AC3E}">
        <p14:creationId xmlns:p14="http://schemas.microsoft.com/office/powerpoint/2010/main" val="14759229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76B125-4BF8-4773-9194-CE3AFEF9A6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Folie" r:id="rId4" imgW="499" imgH="499" progId="TCLayout.ActiveDocument.1">
                  <p:embed/>
                </p:oleObj>
              </mc:Choice>
              <mc:Fallback>
                <p:oleObj name="think-cell Folie" r:id="rId4" imgW="499" imgH="49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76B125-4BF8-4773-9194-CE3AFEF9A6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A06B7BE-E4F1-4C52-AF7B-E6B7213E09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orkbench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E66F52-9C9F-4476-9F17-6A81BDED08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Day 2:</a:t>
            </a:r>
          </a:p>
          <a:p>
            <a:pPr lvl="1"/>
            <a:r>
              <a:rPr lang="de-DE" dirty="0"/>
              <a:t>find </a:t>
            </a:r>
            <a:r>
              <a:rPr lang="de-DE" dirty="0" err="1"/>
              <a:t>best</a:t>
            </a:r>
            <a:r>
              <a:rPr lang="de-DE" dirty="0"/>
              <a:t> </a:t>
            </a:r>
            <a:r>
              <a:rPr lang="de-DE" dirty="0" err="1"/>
              <a:t>pip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redict</a:t>
            </a:r>
            <a:r>
              <a:rPr lang="de-DE" dirty="0"/>
              <a:t> real and </a:t>
            </a:r>
            <a:r>
              <a:rPr lang="de-DE" dirty="0" err="1"/>
              <a:t>false</a:t>
            </a:r>
            <a:r>
              <a:rPr lang="de-DE" dirty="0"/>
              <a:t> </a:t>
            </a:r>
            <a:r>
              <a:rPr lang="de-DE" dirty="0" err="1"/>
              <a:t>alerts</a:t>
            </a:r>
            <a:r>
              <a:rPr lang="de-DE" dirty="0"/>
              <a:t> (individual)</a:t>
            </a:r>
          </a:p>
          <a:p>
            <a:pPr lvl="1"/>
            <a:r>
              <a:rPr lang="de-DE" dirty="0" err="1"/>
              <a:t>visualize</a:t>
            </a:r>
            <a:r>
              <a:rPr lang="de-DE" dirty="0"/>
              <a:t> </a:t>
            </a:r>
            <a:r>
              <a:rPr lang="de-DE" dirty="0" err="1"/>
              <a:t>keyword</a:t>
            </a:r>
            <a:r>
              <a:rPr lang="de-DE" dirty="0"/>
              <a:t> </a:t>
            </a:r>
            <a:r>
              <a:rPr lang="de-DE" dirty="0" err="1"/>
              <a:t>distribution</a:t>
            </a:r>
            <a:r>
              <a:rPr lang="de-DE" dirty="0"/>
              <a:t> </a:t>
            </a:r>
            <a:r>
              <a:rPr lang="de-DE" dirty="0" err="1"/>
              <a:t>depending</a:t>
            </a:r>
            <a:r>
              <a:rPr lang="de-DE" dirty="0"/>
              <a:t> on alert </a:t>
            </a:r>
            <a:r>
              <a:rPr lang="de-DE" dirty="0" err="1"/>
              <a:t>state</a:t>
            </a:r>
            <a:r>
              <a:rPr lang="de-DE" dirty="0"/>
              <a:t> (individual)</a:t>
            </a:r>
          </a:p>
          <a:p>
            <a:pPr lvl="1"/>
            <a:r>
              <a:rPr lang="de-DE" dirty="0" err="1"/>
              <a:t>programming</a:t>
            </a:r>
            <a:r>
              <a:rPr lang="de-DE" dirty="0"/>
              <a:t> </a:t>
            </a:r>
            <a:r>
              <a:rPr lang="de-DE" dirty="0" err="1"/>
              <a:t>warning</a:t>
            </a:r>
            <a:r>
              <a:rPr lang="de-DE" dirty="0"/>
              <a:t> </a:t>
            </a:r>
            <a:r>
              <a:rPr lang="de-DE" dirty="0" err="1"/>
              <a:t>app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users</a:t>
            </a:r>
            <a:r>
              <a:rPr lang="de-DE" dirty="0"/>
              <a:t> (individual) </a:t>
            </a:r>
          </a:p>
          <a:p>
            <a:pPr lvl="1"/>
            <a:endParaRPr lang="de-DE" dirty="0"/>
          </a:p>
          <a:p>
            <a:pPr lvl="1"/>
            <a:endParaRPr lang="de-DE" dirty="0"/>
          </a:p>
          <a:p>
            <a:r>
              <a:rPr lang="de-DE" dirty="0"/>
              <a:t>Beispiel: Keywords </a:t>
            </a:r>
            <a:r>
              <a:rPr lang="de-DE" dirty="0" err="1"/>
              <a:t>analytics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Peter</a:t>
            </a:r>
          </a:p>
          <a:p>
            <a:endParaRPr lang="de-D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4B848BD-131C-4660-88F7-8BA6128921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1560" y="4714239"/>
            <a:ext cx="3571875" cy="2409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850736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76B125-4BF8-4773-9194-CE3AFEF9A6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Folie" r:id="rId4" imgW="499" imgH="499" progId="TCLayout.ActiveDocument.1">
                  <p:embed/>
                </p:oleObj>
              </mc:Choice>
              <mc:Fallback>
                <p:oleObj name="think-cell Folie" r:id="rId4" imgW="499" imgH="49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76B125-4BF8-4773-9194-CE3AFEF9A6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A06B7BE-E4F1-4C52-AF7B-E6B7213E09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orkbench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E66F52-9C9F-4476-9F17-6A81BDED08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Day 3: </a:t>
            </a:r>
          </a:p>
          <a:p>
            <a:pPr lvl="1"/>
            <a:r>
              <a:rPr lang="de-DE" dirty="0" err="1"/>
              <a:t>Git</a:t>
            </a:r>
            <a:r>
              <a:rPr lang="de-DE" dirty="0"/>
              <a:t> (</a:t>
            </a:r>
            <a:r>
              <a:rPr lang="de-DE" dirty="0" err="1"/>
              <a:t>group</a:t>
            </a:r>
            <a:r>
              <a:rPr lang="de-DE" dirty="0"/>
              <a:t>)</a:t>
            </a:r>
          </a:p>
          <a:p>
            <a:pPr lvl="1"/>
            <a:r>
              <a:rPr lang="de-DE" dirty="0"/>
              <a:t>different NLP and ML </a:t>
            </a:r>
            <a:r>
              <a:rPr lang="de-DE" dirty="0" err="1"/>
              <a:t>techniques</a:t>
            </a:r>
            <a:r>
              <a:rPr lang="de-DE" dirty="0"/>
              <a:t> ( </a:t>
            </a:r>
            <a:r>
              <a:rPr lang="de-DE" dirty="0" err="1"/>
              <a:t>group</a:t>
            </a:r>
            <a:r>
              <a:rPr lang="de-DE" dirty="0"/>
              <a:t>)</a:t>
            </a:r>
          </a:p>
          <a:p>
            <a:pPr lvl="1"/>
            <a:r>
              <a:rPr lang="de-DE" dirty="0" err="1"/>
              <a:t>many</a:t>
            </a:r>
            <a:r>
              <a:rPr lang="de-DE" dirty="0"/>
              <a:t> different </a:t>
            </a:r>
            <a:r>
              <a:rPr lang="de-DE" dirty="0" err="1"/>
              <a:t>models</a:t>
            </a:r>
            <a:r>
              <a:rPr lang="de-DE" dirty="0"/>
              <a:t> </a:t>
            </a:r>
            <a:r>
              <a:rPr lang="de-DE" dirty="0" err="1"/>
              <a:t>tested</a:t>
            </a:r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r>
              <a:rPr lang="de-DE"/>
              <a:t>Markus </a:t>
            </a:r>
            <a:r>
              <a:rPr lang="de-DE" dirty="0"/>
              <a:t>mit großen Tabellen + einer Live </a:t>
            </a:r>
            <a:r>
              <a:rPr lang="de-DE" dirty="0" err="1"/>
              <a:t>Prediction</a:t>
            </a:r>
            <a:endParaRPr lang="de-DE" dirty="0"/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899205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76B125-4BF8-4773-9194-CE3AFEF9A6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Folie" r:id="rId4" imgW="499" imgH="499" progId="TCLayout.ActiveDocument.1">
                  <p:embed/>
                </p:oleObj>
              </mc:Choice>
              <mc:Fallback>
                <p:oleObj name="think-cell Folie" r:id="rId4" imgW="499" imgH="49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76B125-4BF8-4773-9194-CE3AFEF9A6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A06B7BE-E4F1-4C52-AF7B-E6B7213E09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orkbench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E66F52-9C9F-4476-9F17-6A81BDED08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Day 4</a:t>
            </a:r>
          </a:p>
          <a:p>
            <a:pPr lvl="1"/>
            <a:r>
              <a:rPr lang="de-DE" dirty="0" err="1"/>
              <a:t>NER</a:t>
            </a:r>
            <a:r>
              <a:rPr lang="de-DE" dirty="0"/>
              <a:t> / POS </a:t>
            </a:r>
            <a:r>
              <a:rPr lang="de-DE" dirty="0" err="1"/>
              <a:t>approach</a:t>
            </a:r>
            <a:r>
              <a:rPr lang="de-DE" dirty="0"/>
              <a:t> </a:t>
            </a:r>
            <a:r>
              <a:rPr lang="de-DE" dirty="0" err="1"/>
              <a:t>tested</a:t>
            </a:r>
            <a:endParaRPr lang="de-DE" dirty="0"/>
          </a:p>
          <a:p>
            <a:pPr lvl="1"/>
            <a:r>
              <a:rPr lang="de-DE" dirty="0" err="1"/>
              <a:t>locations</a:t>
            </a:r>
            <a:r>
              <a:rPr lang="de-DE" dirty="0"/>
              <a:t> </a:t>
            </a:r>
            <a:r>
              <a:rPr lang="de-DE" dirty="0" err="1"/>
              <a:t>tested</a:t>
            </a:r>
            <a:endParaRPr lang="de-DE" dirty="0"/>
          </a:p>
          <a:p>
            <a:pPr lvl="1"/>
            <a:endParaRPr lang="de-DE" dirty="0"/>
          </a:p>
          <a:p>
            <a:r>
              <a:rPr lang="de-DE" dirty="0"/>
              <a:t>Julia zeigt die Anwendungen rund um </a:t>
            </a:r>
            <a:r>
              <a:rPr lang="de-DE" dirty="0" err="1"/>
              <a:t>locations</a:t>
            </a:r>
            <a:r>
              <a:rPr lang="de-DE" dirty="0"/>
              <a:t> und </a:t>
            </a:r>
            <a:r>
              <a:rPr lang="de-DE" dirty="0" err="1"/>
              <a:t>NER</a:t>
            </a:r>
            <a:r>
              <a:rPr lang="de-DE" dirty="0"/>
              <a:t>/POS</a:t>
            </a:r>
          </a:p>
        </p:txBody>
      </p:sp>
    </p:spTree>
    <p:extLst>
      <p:ext uri="{BB962C8B-B14F-4D97-AF65-F5344CB8AC3E}">
        <p14:creationId xmlns:p14="http://schemas.microsoft.com/office/powerpoint/2010/main" val="1607516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D5A64B4-304A-4298-B4EA-CDF5799981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50472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Folie" r:id="rId4" imgW="499" imgH="499" progId="TCLayout.ActiveDocument.1">
                  <p:embed/>
                </p:oleObj>
              </mc:Choice>
              <mc:Fallback>
                <p:oleObj name="think-cell Folie" r:id="rId4" imgW="499" imgH="49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D5A64B4-304A-4298-B4EA-CDF5799981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DB53952-52A3-4A03-9443-B1B08F3A0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ogress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23D875F-53C5-4743-BF30-019872171AB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Day 1:				Day 4:</a:t>
            </a:r>
          </a:p>
          <a:p>
            <a:pPr marL="0" indent="0">
              <a:buNone/>
            </a:pPr>
            <a:r>
              <a:rPr lang="de-DE" dirty="0"/>
              <a:t> </a:t>
            </a: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A8F74505-19D3-41E6-A700-7BFE4E9F01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952" y="2735244"/>
            <a:ext cx="2943225" cy="2647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DD64984C-33E1-4647-969B-B16B9CA2FF0F}"/>
              </a:ext>
            </a:extLst>
          </p:cNvPr>
          <p:cNvSpPr/>
          <p:nvPr/>
        </p:nvSpPr>
        <p:spPr>
          <a:xfrm>
            <a:off x="1026713" y="5681427"/>
            <a:ext cx="223170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0.7898193760262726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AFB7124B-8598-410A-9EEB-6ABBFCA806FE}"/>
              </a:ext>
            </a:extLst>
          </p:cNvPr>
          <p:cNvSpPr txBox="1"/>
          <p:nvPr/>
        </p:nvSpPr>
        <p:spPr>
          <a:xfrm rot="16200000">
            <a:off x="-1622720" y="3928336"/>
            <a:ext cx="42187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Score                     </a:t>
            </a:r>
            <a:r>
              <a:rPr lang="de-DE" dirty="0" err="1"/>
              <a:t>Confusion</a:t>
            </a:r>
            <a:r>
              <a:rPr lang="de-DE" dirty="0"/>
              <a:t> Matrix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F3E11E7-38E4-4FB6-879E-49473A9C5200}"/>
              </a:ext>
            </a:extLst>
          </p:cNvPr>
          <p:cNvSpPr txBox="1"/>
          <p:nvPr/>
        </p:nvSpPr>
        <p:spPr>
          <a:xfrm>
            <a:off x="838200" y="2183032"/>
            <a:ext cx="27228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Tfidf</a:t>
            </a:r>
            <a:r>
              <a:rPr lang="de-DE" dirty="0"/>
              <a:t> + </a:t>
            </a:r>
            <a:r>
              <a:rPr lang="de-DE" dirty="0" err="1"/>
              <a:t>LogReg</a:t>
            </a:r>
            <a:r>
              <a:rPr lang="de-DE" dirty="0"/>
              <a:t> </a:t>
            </a:r>
            <a:r>
              <a:rPr lang="de-DE" dirty="0" err="1"/>
              <a:t>Classifier</a:t>
            </a:r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F108C783-59EA-49CD-BC05-8521D5BE4F73}"/>
              </a:ext>
            </a:extLst>
          </p:cNvPr>
          <p:cNvSpPr txBox="1"/>
          <p:nvPr/>
        </p:nvSpPr>
        <p:spPr>
          <a:xfrm>
            <a:off x="4554067" y="2187515"/>
            <a:ext cx="27228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stacking </a:t>
            </a:r>
            <a:r>
              <a:rPr lang="de-DE" dirty="0" err="1"/>
              <a:t>approach</a:t>
            </a:r>
            <a:r>
              <a:rPr lang="de-DE" dirty="0"/>
              <a:t>:</a:t>
            </a:r>
          </a:p>
          <a:p>
            <a:r>
              <a:rPr lang="de-DE" dirty="0" err="1"/>
              <a:t>LogReg</a:t>
            </a:r>
            <a:r>
              <a:rPr lang="de-DE" dirty="0"/>
              <a:t>, </a:t>
            </a:r>
            <a:r>
              <a:rPr lang="de-DE" dirty="0" err="1"/>
              <a:t>KNN</a:t>
            </a:r>
            <a:r>
              <a:rPr lang="de-DE" dirty="0"/>
              <a:t>, Naive Baye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1745DD9E-0D69-4E1F-95B1-F45BF9D0D9C7}"/>
              </a:ext>
            </a:extLst>
          </p:cNvPr>
          <p:cNvSpPr/>
          <p:nvPr/>
        </p:nvSpPr>
        <p:spPr>
          <a:xfrm>
            <a:off x="4758018" y="5681427"/>
            <a:ext cx="223170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0.8260013131976363</a:t>
            </a:r>
          </a:p>
        </p:txBody>
      </p:sp>
      <p:pic>
        <p:nvPicPr>
          <p:cNvPr id="8198" name="Picture 6">
            <a:extLst>
              <a:ext uri="{FF2B5EF4-FFF2-40B4-BE49-F238E27FC236}">
                <a16:creationId xmlns:a16="http://schemas.microsoft.com/office/drawing/2014/main" id="{7F6EEDCE-4A87-4335-9BD5-50F204D04C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2683" y="2907363"/>
            <a:ext cx="2943225" cy="2495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827716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3CF96C3-AA8B-4AB8-BDE4-83EE788E128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0814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Folie" r:id="rId4" imgW="499" imgH="499" progId="TCLayout.ActiveDocument.1">
                  <p:embed/>
                </p:oleObj>
              </mc:Choice>
              <mc:Fallback>
                <p:oleObj name="think-cell Folie" r:id="rId4" imgW="499" imgH="49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3CF96C3-AA8B-4AB8-BDE4-83EE788E12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0D46BD5-41AE-417D-9219-707CD1AAAB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oduct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15E0944-01D4-4B8A-8173-7DD0CE32753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Warning</a:t>
            </a:r>
            <a:r>
              <a:rPr lang="de-DE" dirty="0"/>
              <a:t> App: </a:t>
            </a:r>
            <a:r>
              <a:rPr lang="de-DE" sz="1600" dirty="0">
                <a:hlinkClick r:id="rId6"/>
              </a:rPr>
              <a:t>https://</a:t>
            </a:r>
            <a:r>
              <a:rPr lang="de-DE" sz="1600" dirty="0" err="1">
                <a:hlinkClick r:id="rId6"/>
              </a:rPr>
              <a:t>x.thunkable.com</a:t>
            </a:r>
            <a:r>
              <a:rPr lang="de-DE" sz="1600" dirty="0">
                <a:hlinkClick r:id="rId6"/>
              </a:rPr>
              <a:t>/</a:t>
            </a:r>
            <a:r>
              <a:rPr lang="de-DE" sz="1600" dirty="0" err="1">
                <a:hlinkClick r:id="rId6"/>
              </a:rPr>
              <a:t>copy</a:t>
            </a:r>
            <a:r>
              <a:rPr lang="de-DE" sz="1600" dirty="0">
                <a:hlinkClick r:id="rId6"/>
              </a:rPr>
              <a:t>/</a:t>
            </a:r>
            <a:r>
              <a:rPr lang="de-DE" sz="1600" dirty="0" err="1">
                <a:hlinkClick r:id="rId6"/>
              </a:rPr>
              <a:t>57989626327f283cca1815d081083498</a:t>
            </a:r>
            <a:endParaRPr lang="de-DE" sz="1600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48440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Q9GUCyMux562DoF23Fu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I_F3jrQtan1atU2S0G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EU6dD9cQ7Yr.L8fGH3b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36DE33932D0F24E842C157F715B2E5B" ma:contentTypeVersion="11" ma:contentTypeDescription="Ein neues Dokument erstellen." ma:contentTypeScope="" ma:versionID="0ea148e3290cae58b3d07c829d945fc7">
  <xsd:schema xmlns:xsd="http://www.w3.org/2001/XMLSchema" xmlns:xs="http://www.w3.org/2001/XMLSchema" xmlns:p="http://schemas.microsoft.com/office/2006/metadata/properties" xmlns:ns3="1d38b0a5-d74c-4591-80fb-34595252c191" xmlns:ns4="6675a1e4-0069-481f-b17b-d0695efb8776" targetNamespace="http://schemas.microsoft.com/office/2006/metadata/properties" ma:root="true" ma:fieldsID="d6e3cbd67c96037582d40ca955ae4e20" ns3:_="" ns4:_="">
    <xsd:import namespace="1d38b0a5-d74c-4591-80fb-34595252c191"/>
    <xsd:import namespace="6675a1e4-0069-481f-b17b-d0695efb877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Location" minOccurs="0"/>
                <xsd:element ref="ns3:MediaServiceOCR" minOccurs="0"/>
                <xsd:element ref="ns3:MediaServiceEventHashCode" minOccurs="0"/>
                <xsd:element ref="ns3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d38b0a5-d74c-4591-80fb-34595252c1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75a1e4-0069-481f-b17b-d0695efb8776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Freigegeben für -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Freigabehinweishash" ma:description="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47434CE-2C33-48FC-87B8-B578512F7289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0DE5302E-96F3-4BB1-9040-214AC4AD677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d38b0a5-d74c-4591-80fb-34595252c191"/>
    <ds:schemaRef ds:uri="6675a1e4-0069-481f-b17b-d0695efb877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740EFF5-1912-430E-A973-62A77D69D8A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40</Words>
  <Application>Microsoft Office PowerPoint</Application>
  <PresentationFormat>Breitbild</PresentationFormat>
  <Paragraphs>72</Paragraphs>
  <Slides>1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8" baseType="lpstr">
      <vt:lpstr>72 Black</vt:lpstr>
      <vt:lpstr>Arial</vt:lpstr>
      <vt:lpstr>Calibri</vt:lpstr>
      <vt:lpstr>Calibri Light</vt:lpstr>
      <vt:lpstr>Office</vt:lpstr>
      <vt:lpstr>think-cell Folie</vt:lpstr>
      <vt:lpstr>Alert</vt:lpstr>
      <vt:lpstr>Task</vt:lpstr>
      <vt:lpstr>Strategy</vt:lpstr>
      <vt:lpstr>Workbench</vt:lpstr>
      <vt:lpstr>Workbench</vt:lpstr>
      <vt:lpstr>Workbench</vt:lpstr>
      <vt:lpstr>Workbench</vt:lpstr>
      <vt:lpstr>Progress</vt:lpstr>
      <vt:lpstr>Product</vt:lpstr>
      <vt:lpstr>Backup</vt:lpstr>
      <vt:lpstr>Useful graphs</vt:lpstr>
      <vt:lpstr>Used techniqu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re</dc:title>
  <dc:creator>Eckert, Peter</dc:creator>
  <cp:lastModifiedBy>Eckert, Peter</cp:lastModifiedBy>
  <cp:revision>2</cp:revision>
  <dcterms:created xsi:type="dcterms:W3CDTF">2020-10-06T05:11:41Z</dcterms:created>
  <dcterms:modified xsi:type="dcterms:W3CDTF">2020-10-08T12:03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36DE33932D0F24E842C157F715B2E5B</vt:lpwstr>
  </property>
</Properties>
</file>